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7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C$17</cx:f>
        <cx:lvl ptCount="16">
          <cx:pt idx="0">Leaf 1</cx:pt>
          <cx:pt idx="1">Leaf 2</cx:pt>
          <cx:pt idx="2">Leaf 3</cx:pt>
          <cx:pt idx="3">Leaf 4</cx:pt>
          <cx:pt idx="4">Leaf 5</cx:pt>
          <cx:pt idx="7">Leaf 8</cx:pt>
          <cx:pt idx="9">Leaf 10</cx:pt>
          <cx:pt idx="10">Leaf 11</cx:pt>
          <cx:pt idx="11">Leaf 12</cx:pt>
          <cx:pt idx="12">Leaf 13</cx:pt>
          <cx:pt idx="13">Leaf 14</cx:pt>
          <cx:pt idx="14">Leaf 15</cx:pt>
        </cx:lvl>
        <cx:lvl ptCount="16">
          <cx:pt idx="0">Stem 1</cx:pt>
          <cx:pt idx="1">Stem 1</cx:pt>
          <cx:pt idx="2">Stem 1</cx:pt>
          <cx:pt idx="3">Stem 2</cx:pt>
          <cx:pt idx="4">Stem 2</cx:pt>
          <cx:pt idx="5">Leaf 6</cx:pt>
          <cx:pt idx="6">Leaf 7</cx:pt>
          <cx:pt idx="7">Stem 3</cx:pt>
          <cx:pt idx="8">Leaf 9</cx:pt>
          <cx:pt idx="9">Stem 4</cx:pt>
          <cx:pt idx="10">Stem 4</cx:pt>
          <cx:pt idx="11">Stem 5</cx:pt>
          <cx:pt idx="12">Stem 5</cx:pt>
          <cx:pt idx="13">Stem 6</cx:pt>
          <cx:pt idx="14">Stem 6</cx:pt>
          <cx:pt idx="15">Leaf 16</cx:pt>
        </cx:lvl>
        <cx:lvl ptCount="16">
          <cx:pt idx="0">Branch 1</cx:pt>
          <cx:pt idx="1">Branch 1</cx:pt>
          <cx:pt idx="2">Branch 1</cx:pt>
          <cx:pt idx="3">Branch 1</cx:pt>
          <cx:pt idx="4">Branch 1</cx:pt>
          <cx:pt idx="5">Branch 1</cx:pt>
          <cx:pt idx="6">Branch 1</cx:pt>
          <cx:pt idx="7">Branch 2</cx:pt>
          <cx:pt idx="8">Branch 2</cx:pt>
          <cx:pt idx="9">Branch 2</cx:pt>
          <cx:pt idx="10">Branch 2</cx:pt>
          <cx:pt idx="11">Branch 3</cx:pt>
          <cx:pt idx="12">Branch 3</cx:pt>
          <cx:pt idx="13">Branch 3</cx:pt>
          <cx:pt idx="14">Branch 3</cx:pt>
          <cx:pt idx="15">Branch 3</cx:pt>
        </cx:lvl>
      </cx:strDim>
      <cx:numDim type="size">
        <cx:f>Sheet1!$D$2:$D$17</cx:f>
        <cx:lvl ptCount="16" formatCode="General">
          <cx:pt idx="0">22</cx:pt>
          <cx:pt idx="1">12</cx:pt>
          <cx:pt idx="2">18</cx:pt>
          <cx:pt idx="3">87</cx:pt>
          <cx:pt idx="4">88</cx:pt>
          <cx:pt idx="5">17</cx:pt>
          <cx:pt idx="6">14</cx:pt>
          <cx:pt idx="7">25</cx:pt>
          <cx:pt idx="8">16</cx:pt>
          <cx:pt idx="9">24</cx:pt>
          <cx:pt idx="10">89</cx:pt>
          <cx:pt idx="11">16</cx:pt>
          <cx:pt idx="12">19</cx:pt>
          <cx:pt idx="13">86</cx:pt>
          <cx:pt idx="14">23</cx:pt>
          <cx:pt idx="15">21</cx:pt>
        </cx:lvl>
      </cx:numDim>
    </cx:data>
  </cx:chartData>
  <cx:chart>
    <cx:plotArea>
      <cx:plotAreaRegion>
        <cx:series layoutId="sunburst" uniqueId="{B67674FC-F1F3-423D-9C0F-582ED41D3B84}">
          <cx:tx>
            <cx:txData>
              <cx:f>Sheet1!$D$1</cx:f>
              <cx:v>Series1</cx:v>
            </cx:txData>
          </cx:tx>
          <cx:dataLabels pos="ctr">
            <cx:visibility seriesName="0" categoryName="1" value="0"/>
          </cx:dataLabels>
          <cx:dataId val="0"/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ACA43-4C46-0E18-824C-95A358269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7253AE-E73C-3B6E-7D81-B01878245C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83481B-1249-5290-1278-53C70D137A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99013-CA1F-CF83-732D-D8B0918C1C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63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3.xml"/><Relationship Id="rId6" Type="http://schemas.microsoft.com/office/2014/relationships/chartEx" Target="../charts/chartEx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A01D0B-E3C1-AFCC-90A2-85C437CCD9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53F1082-EBF3-5D13-6A46-582421C07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3F1082-EBF3-5D13-6A46-582421C07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7F4A35CF-9033-ACCE-ED18-21BF5756E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unburst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6BB3C79-ABE1-D076-1EE9-0891A2BBC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D17359D-F50F-85A8-3AA3-E37729E077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EBE8DE3-DF27-42B0-2624-4479EC94D4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C82B21E5-829E-767D-376E-76550A72B7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D62D2E15-6C4E-51D6-F78C-A6024C2620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Placeholder 7">
                <a:extLst>
                  <a:ext uri="{FF2B5EF4-FFF2-40B4-BE49-F238E27FC236}">
                    <a16:creationId xmlns:a16="http://schemas.microsoft.com/office/drawing/2014/main" id="{EF27AF96-48FF-6D01-56E1-D9D0A2FCE748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7015162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8" name="Chart Placeholder 7">
                <a:extLst>
                  <a:ext uri="{FF2B5EF4-FFF2-40B4-BE49-F238E27FC236}">
                    <a16:creationId xmlns:a16="http://schemas.microsoft.com/office/drawing/2014/main" id="{EF27AF96-48FF-6D01-56E1-D9D0A2FCE74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4038" y="1720850"/>
                <a:ext cx="7015162" cy="445611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69508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9</TotalTime>
  <Words>86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unburst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88</cp:revision>
  <dcterms:created xsi:type="dcterms:W3CDTF">2025-07-09T10:57:17Z</dcterms:created>
  <dcterms:modified xsi:type="dcterms:W3CDTF">2025-10-22T09:54:45Z</dcterms:modified>
  <cp:category/>
</cp:coreProperties>
</file>